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CCF0B00-3FDE-43E4-B5F6-24B25FAE5098}" v="49" dt="2023-03-11T15:37:31.54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32" y="750"/>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FCCF0B00-3FDE-43E4-B5F6-24B25FAE5098}"/>
    <pc:docChg chg="modSld">
      <pc:chgData name="Roberto Gallardo" userId="49a044883f185952" providerId="LiveId" clId="{FCCF0B00-3FDE-43E4-B5F6-24B25FAE5098}" dt="2023-03-11T15:37:40.234" v="302" actId="1036"/>
      <pc:docMkLst>
        <pc:docMk/>
      </pc:docMkLst>
      <pc:sldChg chg="addSp modSp mod">
        <pc:chgData name="Roberto Gallardo" userId="49a044883f185952" providerId="LiveId" clId="{FCCF0B00-3FDE-43E4-B5F6-24B25FAE5098}" dt="2023-03-11T15:31:28.855" v="6" actId="1076"/>
        <pc:sldMkLst>
          <pc:docMk/>
          <pc:sldMk cId="1418533539" sldId="271"/>
        </pc:sldMkLst>
        <pc:picChg chg="add mod">
          <ac:chgData name="Roberto Gallardo" userId="49a044883f185952" providerId="LiveId" clId="{FCCF0B00-3FDE-43E4-B5F6-24B25FAE5098}" dt="2023-03-11T15:31:28.855" v="6" actId="1076"/>
          <ac:picMkLst>
            <pc:docMk/>
            <pc:sldMk cId="1418533539" sldId="271"/>
            <ac:picMk id="6" creationId="{A22F79AF-6951-8C2E-84EC-FCFEEA6BFDF0}"/>
          </ac:picMkLst>
        </pc:picChg>
      </pc:sldChg>
      <pc:sldChg chg="addSp modSp mod">
        <pc:chgData name="Roberto Gallardo" userId="49a044883f185952" providerId="LiveId" clId="{FCCF0B00-3FDE-43E4-B5F6-24B25FAE5098}" dt="2023-03-11T15:33:57.517" v="80" actId="1076"/>
        <pc:sldMkLst>
          <pc:docMk/>
          <pc:sldMk cId="2124848710" sldId="281"/>
        </pc:sldMkLst>
        <pc:picChg chg="add mod">
          <ac:chgData name="Roberto Gallardo" userId="49a044883f185952" providerId="LiveId" clId="{FCCF0B00-3FDE-43E4-B5F6-24B25FAE5098}" dt="2023-03-11T15:33:57.517" v="80" actId="1076"/>
          <ac:picMkLst>
            <pc:docMk/>
            <pc:sldMk cId="2124848710" sldId="281"/>
            <ac:picMk id="6" creationId="{F37DC127-035E-F92A-B6B0-B7FB01205F61}"/>
          </ac:picMkLst>
        </pc:picChg>
      </pc:sldChg>
      <pc:sldChg chg="addSp modSp mod">
        <pc:chgData name="Roberto Gallardo" userId="49a044883f185952" providerId="LiveId" clId="{FCCF0B00-3FDE-43E4-B5F6-24B25FAE5098}" dt="2023-03-11T15:34:18.748" v="91" actId="1076"/>
        <pc:sldMkLst>
          <pc:docMk/>
          <pc:sldMk cId="2028175529" sldId="282"/>
        </pc:sldMkLst>
        <pc:picChg chg="add mod">
          <ac:chgData name="Roberto Gallardo" userId="49a044883f185952" providerId="LiveId" clId="{FCCF0B00-3FDE-43E4-B5F6-24B25FAE5098}" dt="2023-03-11T15:34:18.748" v="91" actId="1076"/>
          <ac:picMkLst>
            <pc:docMk/>
            <pc:sldMk cId="2028175529" sldId="282"/>
            <ac:picMk id="7" creationId="{1D4BB257-ABAE-3A24-8C75-78F9D0AE6EE2}"/>
          </ac:picMkLst>
        </pc:picChg>
      </pc:sldChg>
      <pc:sldChg chg="addSp modSp mod">
        <pc:chgData name="Roberto Gallardo" userId="49a044883f185952" providerId="LiveId" clId="{FCCF0B00-3FDE-43E4-B5F6-24B25FAE5098}" dt="2023-03-11T15:34:40.899" v="108" actId="1035"/>
        <pc:sldMkLst>
          <pc:docMk/>
          <pc:sldMk cId="1326517747" sldId="283"/>
        </pc:sldMkLst>
        <pc:picChg chg="add mod">
          <ac:chgData name="Roberto Gallardo" userId="49a044883f185952" providerId="LiveId" clId="{FCCF0B00-3FDE-43E4-B5F6-24B25FAE5098}" dt="2023-03-11T15:34:40.899" v="108" actId="1035"/>
          <ac:picMkLst>
            <pc:docMk/>
            <pc:sldMk cId="1326517747" sldId="283"/>
            <ac:picMk id="7" creationId="{47240B36-4B7A-FFA8-1841-D48176546558}"/>
          </ac:picMkLst>
        </pc:picChg>
      </pc:sldChg>
      <pc:sldChg chg="addSp modSp mod">
        <pc:chgData name="Roberto Gallardo" userId="49a044883f185952" providerId="LiveId" clId="{FCCF0B00-3FDE-43E4-B5F6-24B25FAE5098}" dt="2023-03-11T15:35:03.403" v="140" actId="1035"/>
        <pc:sldMkLst>
          <pc:docMk/>
          <pc:sldMk cId="783739251" sldId="284"/>
        </pc:sldMkLst>
        <pc:picChg chg="add mod">
          <ac:chgData name="Roberto Gallardo" userId="49a044883f185952" providerId="LiveId" clId="{FCCF0B00-3FDE-43E4-B5F6-24B25FAE5098}" dt="2023-03-11T15:35:03.403" v="140" actId="1035"/>
          <ac:picMkLst>
            <pc:docMk/>
            <pc:sldMk cId="783739251" sldId="284"/>
            <ac:picMk id="7" creationId="{3D9CCF5D-76B9-D9E2-67BD-609BAC9C0141}"/>
          </ac:picMkLst>
        </pc:picChg>
      </pc:sldChg>
      <pc:sldChg chg="addSp modSp mod">
        <pc:chgData name="Roberto Gallardo" userId="49a044883f185952" providerId="LiveId" clId="{FCCF0B00-3FDE-43E4-B5F6-24B25FAE5098}" dt="2023-03-11T15:35:24.091" v="155" actId="1035"/>
        <pc:sldMkLst>
          <pc:docMk/>
          <pc:sldMk cId="1676122233" sldId="285"/>
        </pc:sldMkLst>
        <pc:picChg chg="add mod">
          <ac:chgData name="Roberto Gallardo" userId="49a044883f185952" providerId="LiveId" clId="{FCCF0B00-3FDE-43E4-B5F6-24B25FAE5098}" dt="2023-03-11T15:35:24.091" v="155" actId="1035"/>
          <ac:picMkLst>
            <pc:docMk/>
            <pc:sldMk cId="1676122233" sldId="285"/>
            <ac:picMk id="7" creationId="{89C1B7D7-EE79-E775-724B-1A4377B1D846}"/>
          </ac:picMkLst>
        </pc:picChg>
      </pc:sldChg>
      <pc:sldChg chg="addSp modSp mod">
        <pc:chgData name="Roberto Gallardo" userId="49a044883f185952" providerId="LiveId" clId="{FCCF0B00-3FDE-43E4-B5F6-24B25FAE5098}" dt="2023-03-11T15:35:41.003" v="166" actId="1036"/>
        <pc:sldMkLst>
          <pc:docMk/>
          <pc:sldMk cId="3100398757" sldId="286"/>
        </pc:sldMkLst>
        <pc:picChg chg="add mod">
          <ac:chgData name="Roberto Gallardo" userId="49a044883f185952" providerId="LiveId" clId="{FCCF0B00-3FDE-43E4-B5F6-24B25FAE5098}" dt="2023-03-11T15:35:41.003" v="166" actId="1036"/>
          <ac:picMkLst>
            <pc:docMk/>
            <pc:sldMk cId="3100398757" sldId="286"/>
            <ac:picMk id="7" creationId="{1FD6C7FA-851B-6244-1A68-8A1588DA53DC}"/>
          </ac:picMkLst>
        </pc:picChg>
      </pc:sldChg>
      <pc:sldChg chg="addSp modSp mod">
        <pc:chgData name="Roberto Gallardo" userId="49a044883f185952" providerId="LiveId" clId="{FCCF0B00-3FDE-43E4-B5F6-24B25FAE5098}" dt="2023-03-11T15:35:56.811" v="193" actId="1036"/>
        <pc:sldMkLst>
          <pc:docMk/>
          <pc:sldMk cId="1546475425" sldId="287"/>
        </pc:sldMkLst>
        <pc:picChg chg="add mod">
          <ac:chgData name="Roberto Gallardo" userId="49a044883f185952" providerId="LiveId" clId="{FCCF0B00-3FDE-43E4-B5F6-24B25FAE5098}" dt="2023-03-11T15:35:56.811" v="193" actId="1036"/>
          <ac:picMkLst>
            <pc:docMk/>
            <pc:sldMk cId="1546475425" sldId="287"/>
            <ac:picMk id="7" creationId="{B913516A-CC61-BDBB-6794-87D897136848}"/>
          </ac:picMkLst>
        </pc:picChg>
      </pc:sldChg>
      <pc:sldChg chg="addSp modSp mod">
        <pc:chgData name="Roberto Gallardo" userId="49a044883f185952" providerId="LiveId" clId="{FCCF0B00-3FDE-43E4-B5F6-24B25FAE5098}" dt="2023-03-11T15:36:32.912" v="232" actId="1035"/>
        <pc:sldMkLst>
          <pc:docMk/>
          <pc:sldMk cId="1380517306" sldId="288"/>
        </pc:sldMkLst>
        <pc:picChg chg="add mod">
          <ac:chgData name="Roberto Gallardo" userId="49a044883f185952" providerId="LiveId" clId="{FCCF0B00-3FDE-43E4-B5F6-24B25FAE5098}" dt="2023-03-11T15:36:32.912" v="232" actId="1035"/>
          <ac:picMkLst>
            <pc:docMk/>
            <pc:sldMk cId="1380517306" sldId="288"/>
            <ac:picMk id="7" creationId="{223E9D34-2C34-1B53-EE25-26D00C8AB61B}"/>
          </ac:picMkLst>
        </pc:picChg>
      </pc:sldChg>
      <pc:sldChg chg="addSp modSp mod">
        <pc:chgData name="Roberto Gallardo" userId="49a044883f185952" providerId="LiveId" clId="{FCCF0B00-3FDE-43E4-B5F6-24B25FAE5098}" dt="2023-03-11T15:36:49.763" v="252" actId="1035"/>
        <pc:sldMkLst>
          <pc:docMk/>
          <pc:sldMk cId="1388671151" sldId="289"/>
        </pc:sldMkLst>
        <pc:picChg chg="add mod">
          <ac:chgData name="Roberto Gallardo" userId="49a044883f185952" providerId="LiveId" clId="{FCCF0B00-3FDE-43E4-B5F6-24B25FAE5098}" dt="2023-03-11T15:36:49.763" v="252" actId="1035"/>
          <ac:picMkLst>
            <pc:docMk/>
            <pc:sldMk cId="1388671151" sldId="289"/>
            <ac:picMk id="7" creationId="{D9BBFAE7-0745-30FB-A9BD-A817E7918A2A}"/>
          </ac:picMkLst>
        </pc:picChg>
      </pc:sldChg>
      <pc:sldChg chg="addSp modSp mod">
        <pc:chgData name="Roberto Gallardo" userId="49a044883f185952" providerId="LiveId" clId="{FCCF0B00-3FDE-43E4-B5F6-24B25FAE5098}" dt="2023-03-11T15:37:22.691" v="286" actId="1035"/>
        <pc:sldMkLst>
          <pc:docMk/>
          <pc:sldMk cId="2355376039" sldId="290"/>
        </pc:sldMkLst>
        <pc:picChg chg="add mod">
          <ac:chgData name="Roberto Gallardo" userId="49a044883f185952" providerId="LiveId" clId="{FCCF0B00-3FDE-43E4-B5F6-24B25FAE5098}" dt="2023-03-11T15:37:22.691" v="286" actId="1035"/>
          <ac:picMkLst>
            <pc:docMk/>
            <pc:sldMk cId="2355376039" sldId="290"/>
            <ac:picMk id="8" creationId="{D5B5BCEB-E2E4-2DE0-32EF-7E2F4B9CFD68}"/>
          </ac:picMkLst>
        </pc:picChg>
      </pc:sldChg>
      <pc:sldChg chg="addSp modSp mod">
        <pc:chgData name="Roberto Gallardo" userId="49a044883f185952" providerId="LiveId" clId="{FCCF0B00-3FDE-43E4-B5F6-24B25FAE5098}" dt="2023-03-11T15:37:40.234" v="302" actId="1036"/>
        <pc:sldMkLst>
          <pc:docMk/>
          <pc:sldMk cId="3757257295" sldId="291"/>
        </pc:sldMkLst>
        <pc:picChg chg="add mod">
          <ac:chgData name="Roberto Gallardo" userId="49a044883f185952" providerId="LiveId" clId="{FCCF0B00-3FDE-43E4-B5F6-24B25FAE5098}" dt="2023-03-11T15:37:40.234" v="302" actId="1036"/>
          <ac:picMkLst>
            <pc:docMk/>
            <pc:sldMk cId="3757257295" sldId="291"/>
            <ac:picMk id="8" creationId="{E78D0A25-8018-AC0F-78B9-1C1CC1CEFE3D}"/>
          </ac:picMkLst>
        </pc:picChg>
      </pc:sldChg>
      <pc:sldChg chg="addSp modSp mod">
        <pc:chgData name="Roberto Gallardo" userId="49a044883f185952" providerId="LiveId" clId="{FCCF0B00-3FDE-43E4-B5F6-24B25FAE5098}" dt="2023-03-11T15:36:14.943" v="219" actId="1036"/>
        <pc:sldMkLst>
          <pc:docMk/>
          <pc:sldMk cId="1259856727" sldId="292"/>
        </pc:sldMkLst>
        <pc:picChg chg="add mod">
          <ac:chgData name="Roberto Gallardo" userId="49a044883f185952" providerId="LiveId" clId="{FCCF0B00-3FDE-43E4-B5F6-24B25FAE5098}" dt="2023-03-11T15:36:14.943" v="219" actId="1036"/>
          <ac:picMkLst>
            <pc:docMk/>
            <pc:sldMk cId="1259856727" sldId="292"/>
            <ac:picMk id="7" creationId="{7C07D3D2-41F2-2AC4-BC32-650C77E11FBE}"/>
          </ac:picMkLst>
        </pc:picChg>
      </pc:sldChg>
      <pc:sldChg chg="addSp modSp mod">
        <pc:chgData name="Roberto Gallardo" userId="49a044883f185952" providerId="LiveId" clId="{FCCF0B00-3FDE-43E4-B5F6-24B25FAE5098}" dt="2023-03-11T15:33:39.060" v="68" actId="1036"/>
        <pc:sldMkLst>
          <pc:docMk/>
          <pc:sldMk cId="3324519687" sldId="293"/>
        </pc:sldMkLst>
        <pc:picChg chg="add mod">
          <ac:chgData name="Roberto Gallardo" userId="49a044883f185952" providerId="LiveId" clId="{FCCF0B00-3FDE-43E4-B5F6-24B25FAE5098}" dt="2023-03-11T15:33:39.060" v="68" actId="1036"/>
          <ac:picMkLst>
            <pc:docMk/>
            <pc:sldMk cId="3324519687" sldId="293"/>
            <ac:picMk id="7" creationId="{3220A2C6-F25D-3849-9A11-BF131CDC15F6}"/>
          </ac:picMkLst>
        </pc:picChg>
      </pc:sldChg>
      <pc:sldChg chg="addSp modSp mod">
        <pc:chgData name="Roberto Gallardo" userId="49a044883f185952" providerId="LiveId" clId="{FCCF0B00-3FDE-43E4-B5F6-24B25FAE5098}" dt="2023-03-11T15:32:56.170" v="44" actId="1076"/>
        <pc:sldMkLst>
          <pc:docMk/>
          <pc:sldMk cId="3256182630" sldId="295"/>
        </pc:sldMkLst>
        <pc:picChg chg="add mod">
          <ac:chgData name="Roberto Gallardo" userId="49a044883f185952" providerId="LiveId" clId="{FCCF0B00-3FDE-43E4-B5F6-24B25FAE5098}" dt="2023-03-11T15:32:56.170" v="44" actId="1076"/>
          <ac:picMkLst>
            <pc:docMk/>
            <pc:sldMk cId="3256182630" sldId="295"/>
            <ac:picMk id="7" creationId="{59142B5C-1371-147C-AA20-4938EFE74380}"/>
          </ac:picMkLst>
        </pc:picChg>
      </pc:sldChg>
      <pc:sldChg chg="addSp modSp mod">
        <pc:chgData name="Roberto Gallardo" userId="49a044883f185952" providerId="LiveId" clId="{FCCF0B00-3FDE-43E4-B5F6-24B25FAE5098}" dt="2023-03-11T15:33:17.256" v="57" actId="1036"/>
        <pc:sldMkLst>
          <pc:docMk/>
          <pc:sldMk cId="4057156843" sldId="296"/>
        </pc:sldMkLst>
        <pc:picChg chg="add mod">
          <ac:chgData name="Roberto Gallardo" userId="49a044883f185952" providerId="LiveId" clId="{FCCF0B00-3FDE-43E4-B5F6-24B25FAE5098}" dt="2023-03-11T15:33:17.256" v="57" actId="1036"/>
          <ac:picMkLst>
            <pc:docMk/>
            <pc:sldMk cId="4057156843" sldId="296"/>
            <ac:picMk id="7" creationId="{3B35A081-F736-902A-25F0-615A2F741F22}"/>
          </ac:picMkLst>
        </pc:picChg>
      </pc:sldChg>
      <pc:sldChg chg="addSp modSp mod">
        <pc:chgData name="Roberto Gallardo" userId="49a044883f185952" providerId="LiveId" clId="{FCCF0B00-3FDE-43E4-B5F6-24B25FAE5098}" dt="2023-03-11T15:32:31.168" v="34" actId="1076"/>
        <pc:sldMkLst>
          <pc:docMk/>
          <pc:sldMk cId="2080110827" sldId="297"/>
        </pc:sldMkLst>
        <pc:picChg chg="add mod">
          <ac:chgData name="Roberto Gallardo" userId="49a044883f185952" providerId="LiveId" clId="{FCCF0B00-3FDE-43E4-B5F6-24B25FAE5098}" dt="2023-03-11T15:32:31.168" v="34" actId="1076"/>
          <ac:picMkLst>
            <pc:docMk/>
            <pc:sldMk cId="2080110827" sldId="297"/>
            <ac:picMk id="6" creationId="{2E330753-ECA0-344C-87A2-ED5CC194E61D}"/>
          </ac:picMkLst>
        </pc:picChg>
      </pc:sldChg>
      <pc:sldChg chg="addSp modSp mod">
        <pc:chgData name="Roberto Gallardo" userId="49a044883f185952" providerId="LiveId" clId="{FCCF0B00-3FDE-43E4-B5F6-24B25FAE5098}" dt="2023-03-11T15:31:53.224" v="14" actId="1076"/>
        <pc:sldMkLst>
          <pc:docMk/>
          <pc:sldMk cId="1532666867" sldId="298"/>
        </pc:sldMkLst>
        <pc:picChg chg="add mod">
          <ac:chgData name="Roberto Gallardo" userId="49a044883f185952" providerId="LiveId" clId="{FCCF0B00-3FDE-43E4-B5F6-24B25FAE5098}" dt="2023-03-11T15:31:53.224" v="14" actId="1076"/>
          <ac:picMkLst>
            <pc:docMk/>
            <pc:sldMk cId="1532666867" sldId="298"/>
            <ac:picMk id="6" creationId="{F3A88115-1E8C-A8C8-2182-62D54A0D3994}"/>
          </ac:picMkLst>
        </pc:picChg>
      </pc:sldChg>
      <pc:sldChg chg="addSp modSp mod">
        <pc:chgData name="Roberto Gallardo" userId="49a044883f185952" providerId="LiveId" clId="{FCCF0B00-3FDE-43E4-B5F6-24B25FAE5098}" dt="2023-03-11T15:37:09.307" v="278" actId="1035"/>
        <pc:sldMkLst>
          <pc:docMk/>
          <pc:sldMk cId="1951376777" sldId="299"/>
        </pc:sldMkLst>
        <pc:picChg chg="add mod">
          <ac:chgData name="Roberto Gallardo" userId="49a044883f185952" providerId="LiveId" clId="{FCCF0B00-3FDE-43E4-B5F6-24B25FAE5098}" dt="2023-03-11T15:37:09.307" v="278" actId="1035"/>
          <ac:picMkLst>
            <pc:docMk/>
            <pc:sldMk cId="1951376777" sldId="299"/>
            <ac:picMk id="7" creationId="{619F1C8B-FF20-7A0A-999B-F1473AE2F189}"/>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Cumberland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B0B7F03-442F-F2B2-4F93-30F7D37BF71B}"/>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E873A476-73CF-17C9-D875-26CAA7569293}"/>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A22F79AF-6951-8C2E-84EC-FCFEEA6BFD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 map&#10;&#10;Description automatically generated">
            <a:extLst>
              <a:ext uri="{FF2B5EF4-FFF2-40B4-BE49-F238E27FC236}">
                <a16:creationId xmlns:a16="http://schemas.microsoft.com/office/drawing/2014/main" id="{F3A88115-1E8C-A8C8-2182-62D54A0D399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32846"/>
            <a:ext cx="7596756"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2E330753-ECA0-344C-87A2-ED5CC194E61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8262" y="1033751"/>
            <a:ext cx="7595475" cy="5371195"/>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7A0CA20C-37E0-ACF8-0FAE-053A4B852FBB}"/>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Diagram, map&#10;&#10;Description automatically generated">
            <a:extLst>
              <a:ext uri="{FF2B5EF4-FFF2-40B4-BE49-F238E27FC236}">
                <a16:creationId xmlns:a16="http://schemas.microsoft.com/office/drawing/2014/main" id="{59142B5C-1371-147C-AA20-4938EFE743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929"/>
            <a:ext cx="6403975" cy="4528617"/>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3770F5A5-4B89-04EE-A7E5-326C4D062D8A}"/>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Diagram, schematic&#10;&#10;Description automatically generated">
            <a:extLst>
              <a:ext uri="{FF2B5EF4-FFF2-40B4-BE49-F238E27FC236}">
                <a16:creationId xmlns:a16="http://schemas.microsoft.com/office/drawing/2014/main" id="{3B35A081-F736-902A-25F0-615A2F741F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4982"/>
            <a:ext cx="6403975" cy="4528616"/>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F0ADB731-98CA-6D4A-77C1-15242B25E409}"/>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Diagram, map&#10;&#10;Description automatically generated">
            <a:extLst>
              <a:ext uri="{FF2B5EF4-FFF2-40B4-BE49-F238E27FC236}">
                <a16:creationId xmlns:a16="http://schemas.microsoft.com/office/drawing/2014/main" id="{3220A2C6-F25D-3849-9A11-BF131CDC15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3805"/>
            <a:ext cx="6400800"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9F67E8FA-9BB5-E81F-A93F-F19B5E6587FB}"/>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Diagram&#10;&#10;Description automatically generated">
            <a:extLst>
              <a:ext uri="{FF2B5EF4-FFF2-40B4-BE49-F238E27FC236}">
                <a16:creationId xmlns:a16="http://schemas.microsoft.com/office/drawing/2014/main" id="{F37DC127-035E-F92A-B6B0-B7FB01205F6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976" y="1412671"/>
            <a:ext cx="6400799" cy="4526370"/>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A987E018-CB19-A8BF-BF59-2E20DFE47A30}"/>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schematic&#10;&#10;Description automatically generated">
            <a:extLst>
              <a:ext uri="{FF2B5EF4-FFF2-40B4-BE49-F238E27FC236}">
                <a16:creationId xmlns:a16="http://schemas.microsoft.com/office/drawing/2014/main" id="{1D4BB257-ABAE-3A24-8C75-78F9D0AE6E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1780"/>
            <a:ext cx="6405562" cy="4529739"/>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977F6DBC-A2F2-C361-3078-CCB55BA40484}"/>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47240B36-4B7A-FFA8-1841-D4817654655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2825" y="1415096"/>
            <a:ext cx="6400801" cy="4526372"/>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BC0F99BD-607E-7F0D-5DE4-98AE8809DA01}"/>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3D9CCF5D-76B9-D9E2-67BD-609BAC9C01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7023"/>
            <a:ext cx="6400801"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D186FB99-6FFD-3DC6-76FD-EC27F7E125DA}"/>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89C1B7D7-EE79-E775-724B-1A4377B1D8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226"/>
            <a:ext cx="6400801" cy="4526372"/>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9FED06F3-3656-DD65-FE11-F3A323D158EA}"/>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1FD6C7FA-851B-6244-1A68-8A1588DA53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8325" y="1415096"/>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EB6C26AD-11D4-8864-810C-81A63B938FC2}"/>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B913516A-CC61-BDBB-6794-87D8971368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5557"/>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AF327454-269F-CB06-7EAC-DF70452DFEBF}"/>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7C07D3D2-41F2-2AC4-BC32-650C77E11F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3765"/>
            <a:ext cx="6400800" cy="452637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882AC5C4-EB2C-5DAE-E68F-ABC32AD4C9C7}"/>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223E9D34-2C34-1B53-EE25-26D00C8AB6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229"/>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A59939C4-F594-FD76-B0C9-B5348EE36ACD}"/>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10;&#10;Description automatically generated">
            <a:extLst>
              <a:ext uri="{FF2B5EF4-FFF2-40B4-BE49-F238E27FC236}">
                <a16:creationId xmlns:a16="http://schemas.microsoft.com/office/drawing/2014/main" id="{D9BBFAE7-0745-30FB-A9BD-A817E7918A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7231"/>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8B95FF0E-9FCA-776F-29E7-F6433E41636B}"/>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Diagram&#10;&#10;Description automatically generated">
            <a:extLst>
              <a:ext uri="{FF2B5EF4-FFF2-40B4-BE49-F238E27FC236}">
                <a16:creationId xmlns:a16="http://schemas.microsoft.com/office/drawing/2014/main" id="{619F1C8B-FF20-7A0A-999B-F1473AE2F1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4780"/>
            <a:ext cx="6400801"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7CED75F3-571B-1119-6241-3A33CDD60077}"/>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Diagram, map&#10;&#10;Description automatically generated">
            <a:extLst>
              <a:ext uri="{FF2B5EF4-FFF2-40B4-BE49-F238E27FC236}">
                <a16:creationId xmlns:a16="http://schemas.microsoft.com/office/drawing/2014/main" id="{D5B5BCEB-E2E4-2DE0-32EF-7E2F4B9CFD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7228"/>
            <a:ext cx="6400800" cy="4526372"/>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7B56167D-7E53-13EE-4E73-B4E64450B0CF}"/>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DC4959AC-319C-8F48-D8FF-A18D6E3E8ACF}"/>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Diagram&#10;&#10;Description automatically generated">
            <a:extLst>
              <a:ext uri="{FF2B5EF4-FFF2-40B4-BE49-F238E27FC236}">
                <a16:creationId xmlns:a16="http://schemas.microsoft.com/office/drawing/2014/main" id="{E78D0A25-8018-AC0F-78B9-1C1CC1CEFE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4016"/>
            <a:ext cx="6400801"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7708ADBE-73ED-652A-1377-6D019FC9CBF1}"/>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420BD30E-3A66-4CD3-C016-E8A0143E21BF}"/>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C6FFB39-CDE9-91C3-D9EE-1D3B7EBC6AB5}"/>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26213" y="2468133"/>
            <a:ext cx="1198148" cy="2302692"/>
            <a:chOff x="10485745" y="2578908"/>
            <a:chExt cx="1198148" cy="2302692"/>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244942"/>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9</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58761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578908"/>
              <a:ext cx="0" cy="66603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137494"/>
              <a:ext cx="0" cy="7441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76257" y="2543875"/>
            <a:ext cx="1198148" cy="2253324"/>
            <a:chOff x="2775759" y="2291483"/>
            <a:chExt cx="1198148" cy="2253324"/>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6399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8</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37046"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29148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291483"/>
              <a:ext cx="0" cy="672515"/>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56550"/>
              <a:ext cx="0" cy="68825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0F984900-0BCD-8912-DEA0-FE7B2833DAD8}"/>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1767DBC8-90C5-D4A3-1BF0-23D0D4A2D6AF}"/>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6D53AC3-6EBC-168A-BDF5-531195B1D38B}"/>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6647E2BC-75FA-4F66-4A72-CECB8128B028}"/>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440A3440-6004-05DA-7266-3D53F0221048}"/>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91DEE78B-B7C2-0140-A71F-3E2387F7D3CB}"/>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1DCC25A9-BF4A-01CC-E163-6D04C4F3A32C}"/>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DC3A8799-DB11-FB58-114A-2E2FA8D94CE1}"/>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60</TotalTime>
  <Words>1457</Words>
  <Application>Microsoft Office PowerPoint</Application>
  <PresentationFormat>Widescreen</PresentationFormat>
  <Paragraphs>133</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37</cp:revision>
  <dcterms:created xsi:type="dcterms:W3CDTF">2022-07-04T13:32:28Z</dcterms:created>
  <dcterms:modified xsi:type="dcterms:W3CDTF">2023-03-11T15:37:45Z</dcterms:modified>
</cp:coreProperties>
</file>